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ov" ContentType="video/quicktime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57" r:id="rId2"/>
  </p:sldMasterIdLst>
  <p:notesMasterIdLst>
    <p:notesMasterId r:id="rId4"/>
  </p:notesMasterIdLst>
  <p:sldIdLst>
    <p:sldId id="283" r:id="rId3"/>
  </p:sldIdLst>
  <p:sldSz cx="12195175" cy="6859588"/>
  <p:notesSz cx="6858000" cy="9144000"/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A0"/>
    <a:srgbClr val="0000FF"/>
    <a:srgbClr val="E5F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A74F01-1A80-4AB9-A63B-4C1C2AD7092E}" v="13" dt="2024-01-16T15:35:04.1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24-01-29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999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CE95415F-4583-7209-7A13-9E1CD53E4457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7081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46E101-B12A-350C-C307-F9B978F274A5}"/>
              </a:ext>
            </a:extLst>
          </p:cNvPr>
          <p:cNvSpPr/>
          <p:nvPr userDrawn="1"/>
        </p:nvSpPr>
        <p:spPr>
          <a:xfrm>
            <a:off x="8189553" y="0"/>
            <a:ext cx="4010400" cy="6859588"/>
          </a:xfrm>
          <a:prstGeom prst="rect">
            <a:avLst/>
          </a:prstGeom>
          <a:solidFill>
            <a:srgbClr val="E5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24A7ADA-849C-17AB-9B33-51D812A28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7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700100-9CEE-97C9-FAD1-B0EFCC9E3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02613" y="360084"/>
            <a:ext cx="3052800" cy="720000"/>
          </a:xfrm>
        </p:spPr>
        <p:txBody>
          <a:bodyPr anchor="b" anchorCtr="0"/>
          <a:lstStyle>
            <a:lvl1pPr marL="0" indent="0">
              <a:buNone/>
              <a:defRPr b="1">
                <a:latin typeface="+mj-lt"/>
              </a:defRPr>
            </a:lvl1pPr>
            <a:lvl2pPr marL="257191" indent="0">
              <a:buNone/>
              <a:defRPr b="1">
                <a:latin typeface="+mj-lt"/>
              </a:defRPr>
            </a:lvl2pPr>
            <a:lvl3pPr marL="514382" indent="0">
              <a:buNone/>
              <a:defRPr b="1">
                <a:latin typeface="+mj-lt"/>
              </a:defRPr>
            </a:lvl3pPr>
            <a:lvl4pPr marL="771574" indent="0">
              <a:buNone/>
              <a:defRPr b="1">
                <a:latin typeface="+mj-lt"/>
              </a:defRPr>
            </a:lvl4pPr>
            <a:lvl5pPr marL="1028765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6" name="Logotype, static">
            <a:extLst>
              <a:ext uri="{FF2B5EF4-FFF2-40B4-BE49-F238E27FC236}">
                <a16:creationId xmlns:a16="http://schemas.microsoft.com/office/drawing/2014/main" id="{657B27D4-ED75-46A9-0AD9-FAE61A5E0E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8182879" cy="6859587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03252" y="360000"/>
            <a:ext cx="3052747" cy="72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1799A-498A-8A7B-92F2-75CA3D939A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Logotype, static">
            <a:extLst>
              <a:ext uri="{FF2B5EF4-FFF2-40B4-BE49-F238E27FC236}">
                <a16:creationId xmlns:a16="http://schemas.microsoft.com/office/drawing/2014/main" id="{C6A38777-D9B2-35D0-58CA-0DC04C032ECA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1059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60000"/>
            <a:ext cx="7200000" cy="972000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217402D2-E40B-9ED9-450B-C9603CAF484D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using Nordea Image Bank butt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6425AB6-E925-98AD-F161-922D2FCEC4B1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964845" y="941098"/>
            <a:ext cx="5232032" cy="5299513"/>
          </a:xfrm>
          <a:custGeom>
            <a:avLst/>
            <a:gdLst>
              <a:gd name="connsiteX0" fmla="*/ 5232032 w 5232032"/>
              <a:gd name="connsiteY0" fmla="*/ 2308746 h 5299513"/>
              <a:gd name="connsiteX1" fmla="*/ 5232032 w 5232032"/>
              <a:gd name="connsiteY1" fmla="*/ 2990767 h 5299513"/>
              <a:gd name="connsiteX2" fmla="*/ 5019955 w 5232032"/>
              <a:gd name="connsiteY2" fmla="*/ 2784240 h 5299513"/>
              <a:gd name="connsiteX3" fmla="*/ 5019955 w 5232032"/>
              <a:gd name="connsiteY3" fmla="*/ 2510471 h 5299513"/>
              <a:gd name="connsiteX4" fmla="*/ 5232032 w 5232032"/>
              <a:gd name="connsiteY4" fmla="*/ 2308746 h 5299513"/>
              <a:gd name="connsiteX5" fmla="*/ 201232 w 5232032"/>
              <a:gd name="connsiteY5" fmla="*/ 2308746 h 5299513"/>
              <a:gd name="connsiteX6" fmla="*/ 402465 w 5232032"/>
              <a:gd name="connsiteY6" fmla="*/ 2510471 h 5299513"/>
              <a:gd name="connsiteX7" fmla="*/ 402465 w 5232032"/>
              <a:gd name="connsiteY7" fmla="*/ 2784240 h 5299513"/>
              <a:gd name="connsiteX8" fmla="*/ 201232 w 5232032"/>
              <a:gd name="connsiteY8" fmla="*/ 2990767 h 5299513"/>
              <a:gd name="connsiteX9" fmla="*/ 0 w 5232032"/>
              <a:gd name="connsiteY9" fmla="*/ 2784240 h 5299513"/>
              <a:gd name="connsiteX10" fmla="*/ 0 w 5232032"/>
              <a:gd name="connsiteY10" fmla="*/ 2510471 h 5299513"/>
              <a:gd name="connsiteX11" fmla="*/ 201232 w 5232032"/>
              <a:gd name="connsiteY11" fmla="*/ 2308746 h 5299513"/>
              <a:gd name="connsiteX12" fmla="*/ 4416260 w 5232032"/>
              <a:gd name="connsiteY12" fmla="*/ 2275007 h 5299513"/>
              <a:gd name="connsiteX13" fmla="*/ 4757270 w 5232032"/>
              <a:gd name="connsiteY13" fmla="*/ 2615289 h 5299513"/>
              <a:gd name="connsiteX14" fmla="*/ 4757270 w 5232032"/>
              <a:gd name="connsiteY14" fmla="*/ 3631341 h 5299513"/>
              <a:gd name="connsiteX15" fmla="*/ 4416260 w 5232032"/>
              <a:gd name="connsiteY15" fmla="*/ 3971622 h 5299513"/>
              <a:gd name="connsiteX16" fmla="*/ 4075249 w 5232032"/>
              <a:gd name="connsiteY16" fmla="*/ 3631341 h 5299513"/>
              <a:gd name="connsiteX17" fmla="*/ 4075249 w 5232032"/>
              <a:gd name="connsiteY17" fmla="*/ 2615289 h 5299513"/>
              <a:gd name="connsiteX18" fmla="*/ 4416260 w 5232032"/>
              <a:gd name="connsiteY18" fmla="*/ 2275007 h 5299513"/>
              <a:gd name="connsiteX19" fmla="*/ 3308894 w 5232032"/>
              <a:gd name="connsiteY19" fmla="*/ 1494178 h 5299513"/>
              <a:gd name="connsiteX20" fmla="*/ 3735444 w 5232032"/>
              <a:gd name="connsiteY20" fmla="*/ 1915928 h 5299513"/>
              <a:gd name="connsiteX21" fmla="*/ 3735444 w 5232032"/>
              <a:gd name="connsiteY21" fmla="*/ 4872971 h 5299513"/>
              <a:gd name="connsiteX22" fmla="*/ 3308894 w 5232032"/>
              <a:gd name="connsiteY22" fmla="*/ 5299513 h 5299513"/>
              <a:gd name="connsiteX23" fmla="*/ 2887137 w 5232032"/>
              <a:gd name="connsiteY23" fmla="*/ 4872971 h 5299513"/>
              <a:gd name="connsiteX24" fmla="*/ 2887137 w 5232032"/>
              <a:gd name="connsiteY24" fmla="*/ 1915928 h 5299513"/>
              <a:gd name="connsiteX25" fmla="*/ 3308894 w 5232032"/>
              <a:gd name="connsiteY25" fmla="*/ 1494178 h 5299513"/>
              <a:gd name="connsiteX26" fmla="*/ 1015801 w 5232032"/>
              <a:gd name="connsiteY26" fmla="*/ 1323071 h 5299513"/>
              <a:gd name="connsiteX27" fmla="*/ 1356811 w 5232032"/>
              <a:gd name="connsiteY27" fmla="*/ 1663358 h 5299513"/>
              <a:gd name="connsiteX28" fmla="*/ 1356811 w 5232032"/>
              <a:gd name="connsiteY28" fmla="*/ 2684219 h 5299513"/>
              <a:gd name="connsiteX29" fmla="*/ 1015801 w 5232032"/>
              <a:gd name="connsiteY29" fmla="*/ 3024506 h 5299513"/>
              <a:gd name="connsiteX30" fmla="*/ 674790 w 5232032"/>
              <a:gd name="connsiteY30" fmla="*/ 2684219 h 5299513"/>
              <a:gd name="connsiteX31" fmla="*/ 674790 w 5232032"/>
              <a:gd name="connsiteY31" fmla="*/ 1663358 h 5299513"/>
              <a:gd name="connsiteX32" fmla="*/ 1015801 w 5232032"/>
              <a:gd name="connsiteY32" fmla="*/ 1323071 h 5299513"/>
              <a:gd name="connsiteX33" fmla="*/ 2119571 w 5232032"/>
              <a:gd name="connsiteY33" fmla="*/ 0 h 5299513"/>
              <a:gd name="connsiteX34" fmla="*/ 2547333 w 5232032"/>
              <a:gd name="connsiteY34" fmla="*/ 426543 h 5299513"/>
              <a:gd name="connsiteX35" fmla="*/ 2547333 w 5232032"/>
              <a:gd name="connsiteY35" fmla="*/ 3378793 h 5299513"/>
              <a:gd name="connsiteX36" fmla="*/ 2119571 w 5232032"/>
              <a:gd name="connsiteY36" fmla="*/ 3805335 h 5299513"/>
              <a:gd name="connsiteX37" fmla="*/ 1696615 w 5232032"/>
              <a:gd name="connsiteY37" fmla="*/ 3378793 h 5299513"/>
              <a:gd name="connsiteX38" fmla="*/ 1696615 w 5232032"/>
              <a:gd name="connsiteY38" fmla="*/ 426543 h 5299513"/>
              <a:gd name="connsiteX39" fmla="*/ 2119571 w 5232032"/>
              <a:gd name="connsiteY39" fmla="*/ 0 h 5299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232032" h="5299513">
                <a:moveTo>
                  <a:pt x="5232032" y="2308746"/>
                </a:moveTo>
                <a:lnTo>
                  <a:pt x="5232032" y="2990767"/>
                </a:lnTo>
                <a:cubicBezTo>
                  <a:pt x="5116354" y="2990767"/>
                  <a:pt x="5019955" y="2899511"/>
                  <a:pt x="5019955" y="2784240"/>
                </a:cubicBezTo>
                <a:cubicBezTo>
                  <a:pt x="5019955" y="2784240"/>
                  <a:pt x="5019955" y="2784240"/>
                  <a:pt x="5019955" y="2510471"/>
                </a:cubicBezTo>
                <a:cubicBezTo>
                  <a:pt x="5019955" y="2400002"/>
                  <a:pt x="5116354" y="2308746"/>
                  <a:pt x="5232032" y="2308746"/>
                </a:cubicBezTo>
                <a:close/>
                <a:moveTo>
                  <a:pt x="201232" y="2308746"/>
                </a:moveTo>
                <a:cubicBezTo>
                  <a:pt x="311431" y="2308746"/>
                  <a:pt x="402465" y="2400002"/>
                  <a:pt x="402465" y="2510471"/>
                </a:cubicBezTo>
                <a:cubicBezTo>
                  <a:pt x="402465" y="2784240"/>
                  <a:pt x="402465" y="2784240"/>
                  <a:pt x="402465" y="2784240"/>
                </a:cubicBezTo>
                <a:cubicBezTo>
                  <a:pt x="402465" y="2899511"/>
                  <a:pt x="311431" y="2990767"/>
                  <a:pt x="201232" y="2990767"/>
                </a:cubicBezTo>
                <a:cubicBezTo>
                  <a:pt x="86242" y="2990767"/>
                  <a:pt x="0" y="2899511"/>
                  <a:pt x="0" y="2784240"/>
                </a:cubicBezTo>
                <a:cubicBezTo>
                  <a:pt x="0" y="2510471"/>
                  <a:pt x="0" y="2510471"/>
                  <a:pt x="0" y="2510471"/>
                </a:cubicBezTo>
                <a:cubicBezTo>
                  <a:pt x="0" y="2400002"/>
                  <a:pt x="86242" y="2308746"/>
                  <a:pt x="201232" y="2308746"/>
                </a:cubicBezTo>
                <a:close/>
                <a:moveTo>
                  <a:pt x="4416260" y="2275007"/>
                </a:moveTo>
                <a:cubicBezTo>
                  <a:pt x="4603575" y="2275007"/>
                  <a:pt x="4757270" y="2428373"/>
                  <a:pt x="4757270" y="2615289"/>
                </a:cubicBezTo>
                <a:cubicBezTo>
                  <a:pt x="4757270" y="3631341"/>
                  <a:pt x="4757270" y="3631341"/>
                  <a:pt x="4757270" y="3631341"/>
                </a:cubicBezTo>
                <a:cubicBezTo>
                  <a:pt x="4757270" y="3818256"/>
                  <a:pt x="4603575" y="3971622"/>
                  <a:pt x="4416260" y="3971622"/>
                </a:cubicBezTo>
                <a:cubicBezTo>
                  <a:pt x="4228944" y="3971622"/>
                  <a:pt x="4075249" y="3818256"/>
                  <a:pt x="4075249" y="3631341"/>
                </a:cubicBezTo>
                <a:cubicBezTo>
                  <a:pt x="4075249" y="2615289"/>
                  <a:pt x="4075249" y="2615289"/>
                  <a:pt x="4075249" y="2615289"/>
                </a:cubicBezTo>
                <a:cubicBezTo>
                  <a:pt x="4075249" y="2428373"/>
                  <a:pt x="4228944" y="2275007"/>
                  <a:pt x="4416260" y="2275007"/>
                </a:cubicBezTo>
                <a:close/>
                <a:moveTo>
                  <a:pt x="3308894" y="1494178"/>
                </a:moveTo>
                <a:cubicBezTo>
                  <a:pt x="3543736" y="1494178"/>
                  <a:pt x="3735444" y="1685883"/>
                  <a:pt x="3735444" y="1915928"/>
                </a:cubicBezTo>
                <a:cubicBezTo>
                  <a:pt x="3735444" y="4872971"/>
                  <a:pt x="3735444" y="4872971"/>
                  <a:pt x="3735444" y="4872971"/>
                </a:cubicBezTo>
                <a:cubicBezTo>
                  <a:pt x="3735444" y="5107809"/>
                  <a:pt x="3543736" y="5299513"/>
                  <a:pt x="3308894" y="5299513"/>
                </a:cubicBezTo>
                <a:cubicBezTo>
                  <a:pt x="3078845" y="5299513"/>
                  <a:pt x="2887137" y="5107809"/>
                  <a:pt x="2887137" y="4872971"/>
                </a:cubicBezTo>
                <a:cubicBezTo>
                  <a:pt x="2887137" y="1915928"/>
                  <a:pt x="2887137" y="1915928"/>
                  <a:pt x="2887137" y="1915928"/>
                </a:cubicBezTo>
                <a:cubicBezTo>
                  <a:pt x="2887137" y="1685883"/>
                  <a:pt x="3078845" y="1494178"/>
                  <a:pt x="3308894" y="1494178"/>
                </a:cubicBezTo>
                <a:close/>
                <a:moveTo>
                  <a:pt x="1015801" y="1323071"/>
                </a:moveTo>
                <a:cubicBezTo>
                  <a:pt x="1203116" y="1323071"/>
                  <a:pt x="1356811" y="1476440"/>
                  <a:pt x="1356811" y="1663358"/>
                </a:cubicBezTo>
                <a:cubicBezTo>
                  <a:pt x="1356811" y="2684219"/>
                  <a:pt x="1356811" y="2684219"/>
                  <a:pt x="1356811" y="2684219"/>
                </a:cubicBezTo>
                <a:cubicBezTo>
                  <a:pt x="1356811" y="2871137"/>
                  <a:pt x="1203116" y="3024506"/>
                  <a:pt x="1015801" y="3024506"/>
                </a:cubicBezTo>
                <a:cubicBezTo>
                  <a:pt x="828485" y="3024506"/>
                  <a:pt x="674790" y="2871137"/>
                  <a:pt x="674790" y="2684219"/>
                </a:cubicBezTo>
                <a:cubicBezTo>
                  <a:pt x="674790" y="1663358"/>
                  <a:pt x="674790" y="1663358"/>
                  <a:pt x="674790" y="1663358"/>
                </a:cubicBezTo>
                <a:cubicBezTo>
                  <a:pt x="674790" y="1476440"/>
                  <a:pt x="828485" y="1323071"/>
                  <a:pt x="1015801" y="1323071"/>
                </a:cubicBezTo>
                <a:close/>
                <a:moveTo>
                  <a:pt x="2119571" y="0"/>
                </a:moveTo>
                <a:cubicBezTo>
                  <a:pt x="2355080" y="0"/>
                  <a:pt x="2547333" y="191705"/>
                  <a:pt x="2547333" y="426543"/>
                </a:cubicBezTo>
                <a:cubicBezTo>
                  <a:pt x="2547333" y="3378793"/>
                  <a:pt x="2547333" y="3378793"/>
                  <a:pt x="2547333" y="3378793"/>
                </a:cubicBezTo>
                <a:cubicBezTo>
                  <a:pt x="2547333" y="3613631"/>
                  <a:pt x="2355080" y="3805335"/>
                  <a:pt x="2119571" y="3805335"/>
                </a:cubicBezTo>
                <a:cubicBezTo>
                  <a:pt x="1888868" y="3805335"/>
                  <a:pt x="1696615" y="3613631"/>
                  <a:pt x="1696615" y="3378793"/>
                </a:cubicBezTo>
                <a:cubicBezTo>
                  <a:pt x="1696615" y="426543"/>
                  <a:pt x="1696615" y="426543"/>
                  <a:pt x="1696615" y="426543"/>
                </a:cubicBezTo>
                <a:cubicBezTo>
                  <a:pt x="1696615" y="191705"/>
                  <a:pt x="1888868" y="0"/>
                  <a:pt x="211957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FB7A02DC-C34D-9C9B-6CE9-832BF235B54B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7890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60000"/>
            <a:ext cx="7200000" cy="972000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  <a:latin typeface="+mj-lt"/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617260"/>
            <a:ext cx="8402188" cy="1842446"/>
          </a:xfrm>
        </p:spPr>
        <p:txBody>
          <a:bodyPr anchor="b" anchorCtr="0">
            <a:noAutofit/>
          </a:bodyPr>
          <a:lstStyle>
            <a:lvl1pPr algn="ctr">
              <a:defRPr sz="4000" b="1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3695879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Pulse">
            <a:extLst>
              <a:ext uri="{FF2B5EF4-FFF2-40B4-BE49-F238E27FC236}">
                <a16:creationId xmlns:a16="http://schemas.microsoft.com/office/drawing/2014/main" id="{C68BB270-0180-6C0D-F35A-670CC32C7A89}"/>
              </a:ext>
            </a:extLst>
          </p:cNvPr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5AEDEF5-EF6A-3786-1898-11A7B4D67D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48B5423-D79D-A870-B332-830D2CFD4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215C7BC-AD3A-FDA5-BBE4-2B07E79DE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4170E1D-4367-1F8D-BE5A-1664CACBE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D0BCCE-1016-C6D6-53F2-8F48EED1C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A903BB-B536-932E-3CCC-D8E81E787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09743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accent3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4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Logotype, static">
            <a:extLst>
              <a:ext uri="{FF2B5EF4-FFF2-40B4-BE49-F238E27FC236}">
                <a16:creationId xmlns:a16="http://schemas.microsoft.com/office/drawing/2014/main" id="{ED491FC6-D7FC-0600-9C48-CD411A9E48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6802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1301642"/>
          </a:xfrm>
        </p:spPr>
        <p:txBody>
          <a:bodyPr/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761403"/>
            <a:ext cx="5436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4299045"/>
            <a:ext cx="5436000" cy="82568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9C78D250-5250-69CE-D117-F4F588675F43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BAFD68E-0C6A-0C2E-927D-9A39A4E85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7913F04-D00F-8EBE-05F7-92EA84AF85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0F89E51F-915F-86CD-BBF3-1EFB1D0E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F16B57-C631-344C-A451-8BAFA89D3B5B}" type="datetimeFigureOut">
              <a:rPr lang="pl-PL" smtClean="0"/>
              <a:t>29.01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E6018F8-58FD-5AFD-D817-77916D124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74B27547-9FF2-FFEE-9A5A-F9043C06B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6206E-8722-B746-901D-E11776288D9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240081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A350D2-E265-48FF-8A18-B8E72C202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A350D2-E265-48FF-8A18-B8E72C202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50221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8326439" y="2854326"/>
            <a:ext cx="3995737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1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7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548574244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A1A426D-F960-45C6-A75C-7CA45CBC9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A1A426D-F960-45C6-A75C-7CA45CBC9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26670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8BB6FA-5B0D-47C6-B132-99204A2F2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8BB6FA-5B0D-47C6-B132-99204A2F2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332001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0746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5832702-13D4-CC82-9036-5C11D2AEC3C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2"/>
            <a:ext cx="12195174" cy="6859587"/>
          </a:xfrm>
          <a:custGeom>
            <a:avLst/>
            <a:gdLst>
              <a:gd name="connsiteX0" fmla="*/ 7166078 w 12195174"/>
              <a:gd name="connsiteY0" fmla="*/ 3249843 h 6859587"/>
              <a:gd name="connsiteX1" fmla="*/ 6964845 w 12195174"/>
              <a:gd name="connsiteY1" fmla="*/ 3451568 h 6859587"/>
              <a:gd name="connsiteX2" fmla="*/ 6964845 w 12195174"/>
              <a:gd name="connsiteY2" fmla="*/ 3725337 h 6859587"/>
              <a:gd name="connsiteX3" fmla="*/ 7166078 w 12195174"/>
              <a:gd name="connsiteY3" fmla="*/ 3931864 h 6859587"/>
              <a:gd name="connsiteX4" fmla="*/ 7367310 w 12195174"/>
              <a:gd name="connsiteY4" fmla="*/ 3725337 h 6859587"/>
              <a:gd name="connsiteX5" fmla="*/ 7367310 w 12195174"/>
              <a:gd name="connsiteY5" fmla="*/ 3451568 h 6859587"/>
              <a:gd name="connsiteX6" fmla="*/ 7166078 w 12195174"/>
              <a:gd name="connsiteY6" fmla="*/ 3249843 h 6859587"/>
              <a:gd name="connsiteX7" fmla="*/ 11381105 w 12195174"/>
              <a:gd name="connsiteY7" fmla="*/ 3216105 h 6859587"/>
              <a:gd name="connsiteX8" fmla="*/ 11040094 w 12195174"/>
              <a:gd name="connsiteY8" fmla="*/ 3556386 h 6859587"/>
              <a:gd name="connsiteX9" fmla="*/ 11040094 w 12195174"/>
              <a:gd name="connsiteY9" fmla="*/ 4572438 h 6859587"/>
              <a:gd name="connsiteX10" fmla="*/ 11381105 w 12195174"/>
              <a:gd name="connsiteY10" fmla="*/ 4912719 h 6859587"/>
              <a:gd name="connsiteX11" fmla="*/ 11722115 w 12195174"/>
              <a:gd name="connsiteY11" fmla="*/ 4572438 h 6859587"/>
              <a:gd name="connsiteX12" fmla="*/ 11722115 w 12195174"/>
              <a:gd name="connsiteY12" fmla="*/ 3556386 h 6859587"/>
              <a:gd name="connsiteX13" fmla="*/ 11381105 w 12195174"/>
              <a:gd name="connsiteY13" fmla="*/ 3216105 h 6859587"/>
              <a:gd name="connsiteX14" fmla="*/ 10273739 w 12195174"/>
              <a:gd name="connsiteY14" fmla="*/ 2435275 h 6859587"/>
              <a:gd name="connsiteX15" fmla="*/ 9851982 w 12195174"/>
              <a:gd name="connsiteY15" fmla="*/ 2857025 h 6859587"/>
              <a:gd name="connsiteX16" fmla="*/ 9851982 w 12195174"/>
              <a:gd name="connsiteY16" fmla="*/ 5814068 h 6859587"/>
              <a:gd name="connsiteX17" fmla="*/ 10273739 w 12195174"/>
              <a:gd name="connsiteY17" fmla="*/ 6240610 h 6859587"/>
              <a:gd name="connsiteX18" fmla="*/ 10700289 w 12195174"/>
              <a:gd name="connsiteY18" fmla="*/ 5814068 h 6859587"/>
              <a:gd name="connsiteX19" fmla="*/ 10700289 w 12195174"/>
              <a:gd name="connsiteY19" fmla="*/ 2857025 h 6859587"/>
              <a:gd name="connsiteX20" fmla="*/ 10273739 w 12195174"/>
              <a:gd name="connsiteY20" fmla="*/ 2435275 h 6859587"/>
              <a:gd name="connsiteX21" fmla="*/ 7980646 w 12195174"/>
              <a:gd name="connsiteY21" fmla="*/ 2264169 h 6859587"/>
              <a:gd name="connsiteX22" fmla="*/ 7639635 w 12195174"/>
              <a:gd name="connsiteY22" fmla="*/ 2604455 h 6859587"/>
              <a:gd name="connsiteX23" fmla="*/ 7639635 w 12195174"/>
              <a:gd name="connsiteY23" fmla="*/ 3625316 h 6859587"/>
              <a:gd name="connsiteX24" fmla="*/ 7980646 w 12195174"/>
              <a:gd name="connsiteY24" fmla="*/ 3965603 h 6859587"/>
              <a:gd name="connsiteX25" fmla="*/ 8321656 w 12195174"/>
              <a:gd name="connsiteY25" fmla="*/ 3625316 h 6859587"/>
              <a:gd name="connsiteX26" fmla="*/ 8321656 w 12195174"/>
              <a:gd name="connsiteY26" fmla="*/ 2604455 h 6859587"/>
              <a:gd name="connsiteX27" fmla="*/ 7980646 w 12195174"/>
              <a:gd name="connsiteY27" fmla="*/ 2264169 h 6859587"/>
              <a:gd name="connsiteX28" fmla="*/ 9084416 w 12195174"/>
              <a:gd name="connsiteY28" fmla="*/ 941097 h 6859587"/>
              <a:gd name="connsiteX29" fmla="*/ 8661460 w 12195174"/>
              <a:gd name="connsiteY29" fmla="*/ 1367640 h 6859587"/>
              <a:gd name="connsiteX30" fmla="*/ 8661460 w 12195174"/>
              <a:gd name="connsiteY30" fmla="*/ 4319890 h 6859587"/>
              <a:gd name="connsiteX31" fmla="*/ 9084416 w 12195174"/>
              <a:gd name="connsiteY31" fmla="*/ 4746432 h 6859587"/>
              <a:gd name="connsiteX32" fmla="*/ 9512178 w 12195174"/>
              <a:gd name="connsiteY32" fmla="*/ 4319890 h 6859587"/>
              <a:gd name="connsiteX33" fmla="*/ 9512178 w 12195174"/>
              <a:gd name="connsiteY33" fmla="*/ 1367640 h 6859587"/>
              <a:gd name="connsiteX34" fmla="*/ 9084416 w 12195174"/>
              <a:gd name="connsiteY34" fmla="*/ 941097 h 6859587"/>
              <a:gd name="connsiteX35" fmla="*/ 0 w 12195174"/>
              <a:gd name="connsiteY35" fmla="*/ 0 h 6859587"/>
              <a:gd name="connsiteX36" fmla="*/ 12195174 w 12195174"/>
              <a:gd name="connsiteY36" fmla="*/ 0 h 6859587"/>
              <a:gd name="connsiteX37" fmla="*/ 12195174 w 12195174"/>
              <a:gd name="connsiteY37" fmla="*/ 3250010 h 6859587"/>
              <a:gd name="connsiteX38" fmla="*/ 12154552 w 12195174"/>
              <a:gd name="connsiteY38" fmla="*/ 3253980 h 6859587"/>
              <a:gd name="connsiteX39" fmla="*/ 11984800 w 12195174"/>
              <a:gd name="connsiteY39" fmla="*/ 3451568 h 6859587"/>
              <a:gd name="connsiteX40" fmla="*/ 11984800 w 12195174"/>
              <a:gd name="connsiteY40" fmla="*/ 3725337 h 6859587"/>
              <a:gd name="connsiteX41" fmla="*/ 12154552 w 12195174"/>
              <a:gd name="connsiteY41" fmla="*/ 3927718 h 6859587"/>
              <a:gd name="connsiteX42" fmla="*/ 12195174 w 12195174"/>
              <a:gd name="connsiteY42" fmla="*/ 3931697 h 6859587"/>
              <a:gd name="connsiteX43" fmla="*/ 12195174 w 12195174"/>
              <a:gd name="connsiteY43" fmla="*/ 6859587 h 6859587"/>
              <a:gd name="connsiteX44" fmla="*/ 0 w 12195174"/>
              <a:gd name="connsiteY44" fmla="*/ 6859587 h 685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5174" h="6859587">
                <a:moveTo>
                  <a:pt x="7166078" y="3249843"/>
                </a:moveTo>
                <a:cubicBezTo>
                  <a:pt x="7051088" y="3249843"/>
                  <a:pt x="6964845" y="3341099"/>
                  <a:pt x="6964845" y="3451568"/>
                </a:cubicBezTo>
                <a:cubicBezTo>
                  <a:pt x="6964845" y="3451568"/>
                  <a:pt x="6964845" y="3451568"/>
                  <a:pt x="6964845" y="3725337"/>
                </a:cubicBezTo>
                <a:cubicBezTo>
                  <a:pt x="6964845" y="3840608"/>
                  <a:pt x="7051088" y="3931864"/>
                  <a:pt x="7166078" y="3931864"/>
                </a:cubicBezTo>
                <a:cubicBezTo>
                  <a:pt x="7276276" y="3931864"/>
                  <a:pt x="7367310" y="3840608"/>
                  <a:pt x="7367310" y="3725337"/>
                </a:cubicBezTo>
                <a:cubicBezTo>
                  <a:pt x="7367310" y="3725337"/>
                  <a:pt x="7367310" y="3725337"/>
                  <a:pt x="7367310" y="3451568"/>
                </a:cubicBezTo>
                <a:cubicBezTo>
                  <a:pt x="7367310" y="3341099"/>
                  <a:pt x="7276276" y="3249843"/>
                  <a:pt x="7166078" y="3249843"/>
                </a:cubicBezTo>
                <a:close/>
                <a:moveTo>
                  <a:pt x="11381105" y="3216105"/>
                </a:moveTo>
                <a:cubicBezTo>
                  <a:pt x="11193789" y="3216105"/>
                  <a:pt x="11040094" y="3369471"/>
                  <a:pt x="11040094" y="3556386"/>
                </a:cubicBezTo>
                <a:cubicBezTo>
                  <a:pt x="11040094" y="3556386"/>
                  <a:pt x="11040094" y="3556386"/>
                  <a:pt x="11040094" y="4572438"/>
                </a:cubicBezTo>
                <a:cubicBezTo>
                  <a:pt x="11040094" y="4759353"/>
                  <a:pt x="11193789" y="4912719"/>
                  <a:pt x="11381105" y="4912719"/>
                </a:cubicBezTo>
                <a:cubicBezTo>
                  <a:pt x="11568420" y="4912719"/>
                  <a:pt x="11722115" y="4759353"/>
                  <a:pt x="11722115" y="4572438"/>
                </a:cubicBezTo>
                <a:cubicBezTo>
                  <a:pt x="11722115" y="4572438"/>
                  <a:pt x="11722115" y="4572438"/>
                  <a:pt x="11722115" y="3556386"/>
                </a:cubicBezTo>
                <a:cubicBezTo>
                  <a:pt x="11722115" y="3369471"/>
                  <a:pt x="11568420" y="3216105"/>
                  <a:pt x="11381105" y="3216105"/>
                </a:cubicBezTo>
                <a:close/>
                <a:moveTo>
                  <a:pt x="10273739" y="2435275"/>
                </a:moveTo>
                <a:cubicBezTo>
                  <a:pt x="10043690" y="2435275"/>
                  <a:pt x="9851982" y="2626980"/>
                  <a:pt x="9851982" y="2857025"/>
                </a:cubicBezTo>
                <a:cubicBezTo>
                  <a:pt x="9851982" y="2857025"/>
                  <a:pt x="9851982" y="2857025"/>
                  <a:pt x="9851982" y="5814068"/>
                </a:cubicBezTo>
                <a:cubicBezTo>
                  <a:pt x="9851982" y="6048906"/>
                  <a:pt x="10043690" y="6240610"/>
                  <a:pt x="10273739" y="6240610"/>
                </a:cubicBezTo>
                <a:cubicBezTo>
                  <a:pt x="10508581" y="6240610"/>
                  <a:pt x="10700289" y="6048906"/>
                  <a:pt x="10700289" y="5814068"/>
                </a:cubicBezTo>
                <a:cubicBezTo>
                  <a:pt x="10700289" y="5814068"/>
                  <a:pt x="10700289" y="5814068"/>
                  <a:pt x="10700289" y="2857025"/>
                </a:cubicBezTo>
                <a:cubicBezTo>
                  <a:pt x="10700289" y="2626980"/>
                  <a:pt x="10508581" y="2435275"/>
                  <a:pt x="10273739" y="2435275"/>
                </a:cubicBezTo>
                <a:close/>
                <a:moveTo>
                  <a:pt x="7980646" y="2264169"/>
                </a:moveTo>
                <a:cubicBezTo>
                  <a:pt x="7793330" y="2264169"/>
                  <a:pt x="7639635" y="2417538"/>
                  <a:pt x="7639635" y="2604455"/>
                </a:cubicBezTo>
                <a:cubicBezTo>
                  <a:pt x="7639635" y="2604455"/>
                  <a:pt x="7639635" y="2604455"/>
                  <a:pt x="7639635" y="3625316"/>
                </a:cubicBezTo>
                <a:cubicBezTo>
                  <a:pt x="7639635" y="3812234"/>
                  <a:pt x="7793330" y="3965603"/>
                  <a:pt x="7980646" y="3965603"/>
                </a:cubicBezTo>
                <a:cubicBezTo>
                  <a:pt x="8167961" y="3965603"/>
                  <a:pt x="8321656" y="3812234"/>
                  <a:pt x="8321656" y="3625316"/>
                </a:cubicBezTo>
                <a:cubicBezTo>
                  <a:pt x="8321656" y="3625316"/>
                  <a:pt x="8321656" y="3625316"/>
                  <a:pt x="8321656" y="2604455"/>
                </a:cubicBezTo>
                <a:cubicBezTo>
                  <a:pt x="8321656" y="2417538"/>
                  <a:pt x="8167961" y="2264169"/>
                  <a:pt x="7980646" y="2264169"/>
                </a:cubicBezTo>
                <a:close/>
                <a:moveTo>
                  <a:pt x="9084416" y="941097"/>
                </a:moveTo>
                <a:cubicBezTo>
                  <a:pt x="8853713" y="941097"/>
                  <a:pt x="8661460" y="1132802"/>
                  <a:pt x="8661460" y="1367640"/>
                </a:cubicBezTo>
                <a:cubicBezTo>
                  <a:pt x="8661460" y="1367640"/>
                  <a:pt x="8661460" y="1367640"/>
                  <a:pt x="8661460" y="4319890"/>
                </a:cubicBezTo>
                <a:cubicBezTo>
                  <a:pt x="8661460" y="4554728"/>
                  <a:pt x="8853713" y="4746432"/>
                  <a:pt x="9084416" y="4746432"/>
                </a:cubicBezTo>
                <a:cubicBezTo>
                  <a:pt x="9319925" y="4746432"/>
                  <a:pt x="9512178" y="4554728"/>
                  <a:pt x="9512178" y="4319890"/>
                </a:cubicBezTo>
                <a:cubicBezTo>
                  <a:pt x="9512178" y="4319890"/>
                  <a:pt x="9512178" y="4319890"/>
                  <a:pt x="9512178" y="1367640"/>
                </a:cubicBezTo>
                <a:cubicBezTo>
                  <a:pt x="9512178" y="1132802"/>
                  <a:pt x="9319925" y="941097"/>
                  <a:pt x="9084416" y="941097"/>
                </a:cubicBezTo>
                <a:close/>
                <a:moveTo>
                  <a:pt x="0" y="0"/>
                </a:moveTo>
                <a:lnTo>
                  <a:pt x="12195174" y="0"/>
                </a:lnTo>
                <a:lnTo>
                  <a:pt x="12195174" y="3250010"/>
                </a:lnTo>
                <a:lnTo>
                  <a:pt x="12154552" y="3253980"/>
                </a:lnTo>
                <a:cubicBezTo>
                  <a:pt x="12058605" y="3272957"/>
                  <a:pt x="11984800" y="3354908"/>
                  <a:pt x="11984800" y="3451568"/>
                </a:cubicBezTo>
                <a:cubicBezTo>
                  <a:pt x="11984800" y="3725337"/>
                  <a:pt x="11984800" y="3725337"/>
                  <a:pt x="11984800" y="3725337"/>
                </a:cubicBezTo>
                <a:cubicBezTo>
                  <a:pt x="11984800" y="3826199"/>
                  <a:pt x="12058605" y="3908675"/>
                  <a:pt x="12154552" y="3927718"/>
                </a:cubicBezTo>
                <a:lnTo>
                  <a:pt x="12195174" y="3931697"/>
                </a:lnTo>
                <a:lnTo>
                  <a:pt x="12195174" y="6859587"/>
                </a:lnTo>
                <a:lnTo>
                  <a:pt x="0" y="6859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504000" anchor="t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AA0C9813-7F76-32AC-AEFF-1C7A7D0E03B0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43811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7EAF30B-C6FE-419F-9DDD-2F7C8F749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7EAF30B-C6FE-419F-9DDD-2F7C8F749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42055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4EE704-CBAE-40D3-99B9-2F6866CE5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A4EE704-CBAE-40D3-99B9-2F6866CE5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113466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AC24A-6007-4B76-A5C1-8CC8F1FCC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AC24A-6007-4B76-A5C1-8CC8F1FCC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776427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6282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A3C16D-C06E-450C-B5DA-7A45EA7F6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A3C16D-C06E-450C-B5DA-7A45EA7F6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1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38794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BE3B95-736E-483D-A653-F3B2C00695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BE3B95-736E-483D-A653-F3B2C0069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32439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7D95EF-9A2C-40BF-AAE0-793234876F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7D95EF-9A2C-40BF-AAE0-793234876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1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1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853734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31FF3E-3061-4CE9-B026-F21D03D00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31FF3E-3061-4CE9-B026-F21D03D00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1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28541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98B58E-0E95-4E82-9C08-23A34C110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98B58E-0E95-4E82-9C08-23A34C110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407371" y="1989634"/>
            <a:ext cx="174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368801" y="1989634"/>
            <a:ext cx="3489325" cy="30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1989634"/>
            <a:ext cx="255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8064001" y="4149874"/>
            <a:ext cx="1692000" cy="1332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87862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B65CAA-4762-431A-B2E2-8A3916054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B65CAA-4762-431A-B2E2-8A3916054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333450"/>
            <a:ext cx="7200000" cy="1009078"/>
          </a:xfrm>
        </p:spPr>
        <p:txBody>
          <a:bodyPr vert="horz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9" name="Line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Logotype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76178302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959540"/>
            <a:ext cx="7200000" cy="6179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602855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080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332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7168929-C546-6900-44DB-CE0B16A737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-1"/>
            <a:ext cx="12204000" cy="4911479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38" name="Pulse">
            <a:extLst>
              <a:ext uri="{FF2B5EF4-FFF2-40B4-BE49-F238E27FC236}">
                <a16:creationId xmlns:a16="http://schemas.microsoft.com/office/drawing/2014/main" id="{437A1C0F-02A0-4154-9BE2-4CC52A926281}"/>
              </a:ext>
            </a:extLst>
          </p:cNvPr>
          <p:cNvSpPr>
            <a:spLocks/>
          </p:cNvSpPr>
          <p:nvPr userDrawn="1"/>
        </p:nvSpPr>
        <p:spPr bwMode="auto">
          <a:xfrm>
            <a:off x="9824400" y="2552400"/>
            <a:ext cx="2391674" cy="2739988"/>
          </a:xfrm>
          <a:custGeom>
            <a:avLst/>
            <a:gdLst>
              <a:gd name="connsiteX0" fmla="*/ 104043 w 2391674"/>
              <a:gd name="connsiteY0" fmla="*/ 1193683 h 2739988"/>
              <a:gd name="connsiteX1" fmla="*/ 208085 w 2391674"/>
              <a:gd name="connsiteY1" fmla="*/ 1297980 h 2739988"/>
              <a:gd name="connsiteX2" fmla="*/ 208085 w 2391674"/>
              <a:gd name="connsiteY2" fmla="*/ 1439526 h 2739988"/>
              <a:gd name="connsiteX3" fmla="*/ 104043 w 2391674"/>
              <a:gd name="connsiteY3" fmla="*/ 1546306 h 2739988"/>
              <a:gd name="connsiteX4" fmla="*/ 0 w 2391674"/>
              <a:gd name="connsiteY4" fmla="*/ 1439526 h 2739988"/>
              <a:gd name="connsiteX5" fmla="*/ 0 w 2391674"/>
              <a:gd name="connsiteY5" fmla="*/ 1297980 h 2739988"/>
              <a:gd name="connsiteX6" fmla="*/ 104043 w 2391674"/>
              <a:gd name="connsiteY6" fmla="*/ 1193683 h 2739988"/>
              <a:gd name="connsiteX7" fmla="*/ 2283323 w 2391674"/>
              <a:gd name="connsiteY7" fmla="*/ 1176238 h 2739988"/>
              <a:gd name="connsiteX8" fmla="*/ 2351730 w 2391674"/>
              <a:gd name="connsiteY8" fmla="*/ 1190138 h 2739988"/>
              <a:gd name="connsiteX9" fmla="*/ 2391674 w 2391674"/>
              <a:gd name="connsiteY9" fmla="*/ 1217088 h 2739988"/>
              <a:gd name="connsiteX10" fmla="*/ 2391674 w 2391674"/>
              <a:gd name="connsiteY10" fmla="*/ 2012584 h 2739988"/>
              <a:gd name="connsiteX11" fmla="*/ 2351730 w 2391674"/>
              <a:gd name="connsiteY11" fmla="*/ 2039533 h 2739988"/>
              <a:gd name="connsiteX12" fmla="*/ 2283323 w 2391674"/>
              <a:gd name="connsiteY12" fmla="*/ 2053433 h 2739988"/>
              <a:gd name="connsiteX13" fmla="*/ 2107012 w 2391674"/>
              <a:gd name="connsiteY13" fmla="*/ 1877499 h 2739988"/>
              <a:gd name="connsiteX14" fmla="*/ 2107012 w 2391674"/>
              <a:gd name="connsiteY14" fmla="*/ 1352173 h 2739988"/>
              <a:gd name="connsiteX15" fmla="*/ 2283323 w 2391674"/>
              <a:gd name="connsiteY15" fmla="*/ 1176238 h 2739988"/>
              <a:gd name="connsiteX16" fmla="*/ 1710786 w 2391674"/>
              <a:gd name="connsiteY16" fmla="*/ 772529 h 2739988"/>
              <a:gd name="connsiteX17" fmla="*/ 1931323 w 2391674"/>
              <a:gd name="connsiteY17" fmla="*/ 990585 h 2739988"/>
              <a:gd name="connsiteX18" fmla="*/ 1931323 w 2391674"/>
              <a:gd name="connsiteY18" fmla="*/ 2519454 h 2739988"/>
              <a:gd name="connsiteX19" fmla="*/ 1710786 w 2391674"/>
              <a:gd name="connsiteY19" fmla="*/ 2739988 h 2739988"/>
              <a:gd name="connsiteX20" fmla="*/ 1492726 w 2391674"/>
              <a:gd name="connsiteY20" fmla="*/ 2519454 h 2739988"/>
              <a:gd name="connsiteX21" fmla="*/ 1492726 w 2391674"/>
              <a:gd name="connsiteY21" fmla="*/ 990585 h 2739988"/>
              <a:gd name="connsiteX22" fmla="*/ 1710786 w 2391674"/>
              <a:gd name="connsiteY22" fmla="*/ 772529 h 2739988"/>
              <a:gd name="connsiteX23" fmla="*/ 525196 w 2391674"/>
              <a:gd name="connsiteY23" fmla="*/ 684063 h 2739988"/>
              <a:gd name="connsiteX24" fmla="*/ 701507 w 2391674"/>
              <a:gd name="connsiteY24" fmla="*/ 860000 h 2739988"/>
              <a:gd name="connsiteX25" fmla="*/ 701507 w 2391674"/>
              <a:gd name="connsiteY25" fmla="*/ 1387813 h 2739988"/>
              <a:gd name="connsiteX26" fmla="*/ 525196 w 2391674"/>
              <a:gd name="connsiteY26" fmla="*/ 1563750 h 2739988"/>
              <a:gd name="connsiteX27" fmla="*/ 348884 w 2391674"/>
              <a:gd name="connsiteY27" fmla="*/ 1387813 h 2739988"/>
              <a:gd name="connsiteX28" fmla="*/ 348884 w 2391674"/>
              <a:gd name="connsiteY28" fmla="*/ 860000 h 2739988"/>
              <a:gd name="connsiteX29" fmla="*/ 525196 w 2391674"/>
              <a:gd name="connsiteY29" fmla="*/ 684063 h 2739988"/>
              <a:gd name="connsiteX30" fmla="*/ 1095875 w 2391674"/>
              <a:gd name="connsiteY30" fmla="*/ 0 h 2739988"/>
              <a:gd name="connsiteX31" fmla="*/ 1317039 w 2391674"/>
              <a:gd name="connsiteY31" fmla="*/ 220534 h 2739988"/>
              <a:gd name="connsiteX32" fmla="*/ 1317039 w 2391674"/>
              <a:gd name="connsiteY32" fmla="*/ 1746925 h 2739988"/>
              <a:gd name="connsiteX33" fmla="*/ 1095875 w 2391674"/>
              <a:gd name="connsiteY33" fmla="*/ 1967459 h 2739988"/>
              <a:gd name="connsiteX34" fmla="*/ 877195 w 2391674"/>
              <a:gd name="connsiteY34" fmla="*/ 1746925 h 2739988"/>
              <a:gd name="connsiteX35" fmla="*/ 877195 w 2391674"/>
              <a:gd name="connsiteY35" fmla="*/ 220534 h 2739988"/>
              <a:gd name="connsiteX36" fmla="*/ 1095875 w 2391674"/>
              <a:gd name="connsiteY36" fmla="*/ 0 h 273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91674" h="2739988">
                <a:moveTo>
                  <a:pt x="104043" y="1193683"/>
                </a:moveTo>
                <a:cubicBezTo>
                  <a:pt x="161018" y="1193683"/>
                  <a:pt x="208085" y="1240865"/>
                  <a:pt x="208085" y="1297980"/>
                </a:cubicBezTo>
                <a:cubicBezTo>
                  <a:pt x="208085" y="1439526"/>
                  <a:pt x="208085" y="1439526"/>
                  <a:pt x="208085" y="1439526"/>
                </a:cubicBezTo>
                <a:cubicBezTo>
                  <a:pt x="208085" y="1499124"/>
                  <a:pt x="161018" y="1546306"/>
                  <a:pt x="104043" y="1546306"/>
                </a:cubicBezTo>
                <a:cubicBezTo>
                  <a:pt x="44590" y="1546306"/>
                  <a:pt x="0" y="1499124"/>
                  <a:pt x="0" y="1439526"/>
                </a:cubicBezTo>
                <a:cubicBezTo>
                  <a:pt x="0" y="1297980"/>
                  <a:pt x="0" y="1297980"/>
                  <a:pt x="0" y="1297980"/>
                </a:cubicBezTo>
                <a:cubicBezTo>
                  <a:pt x="0" y="1240865"/>
                  <a:pt x="44590" y="1193683"/>
                  <a:pt x="104043" y="1193683"/>
                </a:cubicBezTo>
                <a:close/>
                <a:moveTo>
                  <a:pt x="2283323" y="1176238"/>
                </a:moveTo>
                <a:cubicBezTo>
                  <a:pt x="2307535" y="1176238"/>
                  <a:pt x="2330660" y="1181194"/>
                  <a:pt x="2351730" y="1190138"/>
                </a:cubicBezTo>
                <a:lnTo>
                  <a:pt x="2391674" y="1217088"/>
                </a:lnTo>
                <a:lnTo>
                  <a:pt x="2391674" y="2012584"/>
                </a:lnTo>
                <a:lnTo>
                  <a:pt x="2351730" y="2039533"/>
                </a:lnTo>
                <a:cubicBezTo>
                  <a:pt x="2330660" y="2048477"/>
                  <a:pt x="2307535" y="2053433"/>
                  <a:pt x="2283323" y="2053433"/>
                </a:cubicBezTo>
                <a:cubicBezTo>
                  <a:pt x="2186476" y="2053433"/>
                  <a:pt x="2107012" y="1974139"/>
                  <a:pt x="2107012" y="1877499"/>
                </a:cubicBezTo>
                <a:cubicBezTo>
                  <a:pt x="2107012" y="1352173"/>
                  <a:pt x="2107012" y="1352173"/>
                  <a:pt x="2107012" y="1352173"/>
                </a:cubicBezTo>
                <a:cubicBezTo>
                  <a:pt x="2107012" y="1255533"/>
                  <a:pt x="2186476" y="1176238"/>
                  <a:pt x="2283323" y="1176238"/>
                </a:cubicBezTo>
                <a:close/>
                <a:moveTo>
                  <a:pt x="1710786" y="772529"/>
                </a:moveTo>
                <a:cubicBezTo>
                  <a:pt x="1832205" y="772529"/>
                  <a:pt x="1931323" y="871645"/>
                  <a:pt x="1931323" y="990585"/>
                </a:cubicBezTo>
                <a:cubicBezTo>
                  <a:pt x="1931323" y="2519454"/>
                  <a:pt x="1931323" y="2519454"/>
                  <a:pt x="1931323" y="2519454"/>
                </a:cubicBezTo>
                <a:cubicBezTo>
                  <a:pt x="1931323" y="2640872"/>
                  <a:pt x="1832205" y="2739988"/>
                  <a:pt x="1710786" y="2739988"/>
                </a:cubicBezTo>
                <a:cubicBezTo>
                  <a:pt x="1591844" y="2739988"/>
                  <a:pt x="1492726" y="2640872"/>
                  <a:pt x="1492726" y="2519454"/>
                </a:cubicBezTo>
                <a:cubicBezTo>
                  <a:pt x="1492726" y="990585"/>
                  <a:pt x="1492726" y="990585"/>
                  <a:pt x="1492726" y="990585"/>
                </a:cubicBezTo>
                <a:cubicBezTo>
                  <a:pt x="1492726" y="871645"/>
                  <a:pt x="1591844" y="772529"/>
                  <a:pt x="1710786" y="772529"/>
                </a:cubicBezTo>
                <a:close/>
                <a:moveTo>
                  <a:pt x="525196" y="684063"/>
                </a:moveTo>
                <a:cubicBezTo>
                  <a:pt x="622043" y="684063"/>
                  <a:pt x="701507" y="763359"/>
                  <a:pt x="701507" y="860000"/>
                </a:cubicBezTo>
                <a:cubicBezTo>
                  <a:pt x="701507" y="1387813"/>
                  <a:pt x="701507" y="1387813"/>
                  <a:pt x="701507" y="1387813"/>
                </a:cubicBezTo>
                <a:cubicBezTo>
                  <a:pt x="701507" y="1484454"/>
                  <a:pt x="622043" y="1563750"/>
                  <a:pt x="525196" y="1563750"/>
                </a:cubicBezTo>
                <a:cubicBezTo>
                  <a:pt x="428349" y="1563750"/>
                  <a:pt x="348884" y="1484454"/>
                  <a:pt x="348884" y="1387813"/>
                </a:cubicBezTo>
                <a:cubicBezTo>
                  <a:pt x="348884" y="860000"/>
                  <a:pt x="348884" y="860000"/>
                  <a:pt x="348884" y="860000"/>
                </a:cubicBezTo>
                <a:cubicBezTo>
                  <a:pt x="348884" y="763359"/>
                  <a:pt x="428349" y="684063"/>
                  <a:pt x="525196" y="684063"/>
                </a:cubicBezTo>
                <a:close/>
                <a:moveTo>
                  <a:pt x="1095875" y="0"/>
                </a:moveTo>
                <a:cubicBezTo>
                  <a:pt x="1217639" y="0"/>
                  <a:pt x="1317039" y="99116"/>
                  <a:pt x="1317039" y="220534"/>
                </a:cubicBezTo>
                <a:cubicBezTo>
                  <a:pt x="1317039" y="1746925"/>
                  <a:pt x="1317039" y="1746925"/>
                  <a:pt x="1317039" y="1746925"/>
                </a:cubicBezTo>
                <a:cubicBezTo>
                  <a:pt x="1317039" y="1868343"/>
                  <a:pt x="1217639" y="1967459"/>
                  <a:pt x="1095875" y="1967459"/>
                </a:cubicBezTo>
                <a:cubicBezTo>
                  <a:pt x="976595" y="1967459"/>
                  <a:pt x="877195" y="1868343"/>
                  <a:pt x="877195" y="1746925"/>
                </a:cubicBezTo>
                <a:cubicBezTo>
                  <a:pt x="877195" y="220534"/>
                  <a:pt x="877195" y="220534"/>
                  <a:pt x="877195" y="220534"/>
                </a:cubicBezTo>
                <a:cubicBezTo>
                  <a:pt x="877195" y="99116"/>
                  <a:pt x="976595" y="0"/>
                  <a:pt x="109587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0D585B6D-CABE-5C63-D893-BD24D22C24BC}"/>
              </a:ext>
            </a:extLst>
          </p:cNvPr>
          <p:cNvSpPr>
            <a:spLocks noChangeAspect="1"/>
          </p:cNvSpPr>
          <p:nvPr userDrawn="1"/>
        </p:nvSpPr>
        <p:spPr>
          <a:xfrm>
            <a:off x="10277295" y="615212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5ADCA-DB62-4D50-8CF9-6D486E281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5ADCA-DB62-4D50-8CF9-6D486E281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1642604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84C83E-E7F2-4A41-A3AF-EB7BF0D89D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84C83E-E7F2-4A41-A3AF-EB7BF0D89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60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FF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1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693234356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E29782-9344-48E9-BA59-745DEA608E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0E29782-9344-48E9-BA59-745DEA608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23444802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4ED41B-56CC-40E3-8C15-ED52415C3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4ED41B-56CC-40E3-8C15-ED52415C3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83756"/>
            <a:ext cx="7200000" cy="62685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39600"/>
            <a:ext cx="12204000" cy="3816350"/>
          </a:xfrm>
          <a:noFill/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8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93923097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8F5776-DCF7-42E0-A50E-57F9866A4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8F5776-DCF7-42E0-A50E-57F9866A4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2193200" cy="6859588"/>
          </a:xfrm>
          <a:prstGeom prst="rect">
            <a:avLst/>
          </a:prstGeom>
          <a:solidFill>
            <a:srgbClr val="FDE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4" name="Rectangle 3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40414"/>
            <a:ext cx="12204000" cy="3816350"/>
          </a:xfrm>
          <a:noFill/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75994"/>
            <a:ext cx="7200000" cy="634612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3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361571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EFCC13-8B1A-4F82-BD77-9D33BEC25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EFCC13-8B1A-4F82-BD77-9D33BEC25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89027"/>
            <a:ext cx="8402188" cy="999458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accent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1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342783852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Pulse Pattern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2A8E87-1C5F-40F4-B2AE-214A3B4C4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2A8E87-1C5F-40F4-B2AE-214A3B4C4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53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90800"/>
            <a:ext cx="8402188" cy="1000800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tx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8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A0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4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257559429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E43D5-A05A-41D5-AF2A-4CC6E5568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E43D5-A05A-41D5-AF2A-4CC6E5568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89026"/>
            <a:ext cx="6864086" cy="2268744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57657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8059BD-90CE-4BF2-904B-E663F3470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8059BD-90CE-4BF2-904B-E663F3470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90800"/>
            <a:ext cx="6864086" cy="2268000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1606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AE00A3-BEB7-431D-B6EC-06131D947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AE00A3-BEB7-431D-B6EC-06131D947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66246"/>
            <a:ext cx="6864086" cy="2327243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270924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Pulse"/>
          <p:cNvGrpSpPr/>
          <p:nvPr userDrawn="1"/>
        </p:nvGrpSpPr>
        <p:grpSpPr>
          <a:xfrm>
            <a:off x="1" y="3348039"/>
            <a:ext cx="12204700" cy="2643187"/>
            <a:chOff x="0" y="3348038"/>
            <a:chExt cx="12204700" cy="2643187"/>
          </a:xfrm>
          <a:solidFill>
            <a:srgbClr val="0000FF"/>
          </a:solidFill>
        </p:grpSpPr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190658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397986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158591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3524250" y="4548188"/>
              <a:ext cx="325438" cy="809625"/>
            </a:xfrm>
            <a:custGeom>
              <a:avLst/>
              <a:gdLst>
                <a:gd name="T0" fmla="*/ 51 w 102"/>
                <a:gd name="T1" fmla="*/ 254 h 254"/>
                <a:gd name="T2" fmla="*/ 51 w 102"/>
                <a:gd name="T3" fmla="*/ 254 h 254"/>
                <a:gd name="T4" fmla="*/ 0 w 102"/>
                <a:gd name="T5" fmla="*/ 203 h 254"/>
                <a:gd name="T6" fmla="*/ 0 w 102"/>
                <a:gd name="T7" fmla="*/ 51 h 254"/>
                <a:gd name="T8" fmla="*/ 51 w 102"/>
                <a:gd name="T9" fmla="*/ 0 h 254"/>
                <a:gd name="T10" fmla="*/ 102 w 102"/>
                <a:gd name="T11" fmla="*/ 51 h 254"/>
                <a:gd name="T12" fmla="*/ 102 w 102"/>
                <a:gd name="T13" fmla="*/ 203 h 254"/>
                <a:gd name="T14" fmla="*/ 51 w 102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3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2393950" y="3462338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11150" y="34623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6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6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6"/>
                    <a:pt x="128" y="506"/>
                    <a:pt x="128" y="506"/>
                  </a:cubicBezTo>
                  <a:cubicBezTo>
                    <a:pt x="128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2959100" y="4175125"/>
              <a:ext cx="403225" cy="1816100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auto">
            <a:xfrm>
              <a:off x="1131888" y="4548188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2"/>
                    <a:pt x="23" y="254"/>
                    <a:pt x="51" y="254"/>
                  </a:cubicBezTo>
                  <a:cubicBezTo>
                    <a:pt x="79" y="254"/>
                    <a:pt x="102" y="232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565150" y="4175125"/>
              <a:ext cx="404813" cy="1816100"/>
            </a:xfrm>
            <a:custGeom>
              <a:avLst/>
              <a:gdLst>
                <a:gd name="T0" fmla="*/ 64 w 127"/>
                <a:gd name="T1" fmla="*/ 10 h 570"/>
                <a:gd name="T2" fmla="*/ 117 w 127"/>
                <a:gd name="T3" fmla="*/ 64 h 570"/>
                <a:gd name="T4" fmla="*/ 117 w 127"/>
                <a:gd name="T5" fmla="*/ 506 h 570"/>
                <a:gd name="T6" fmla="*/ 64 w 127"/>
                <a:gd name="T7" fmla="*/ 560 h 570"/>
                <a:gd name="T8" fmla="*/ 10 w 127"/>
                <a:gd name="T9" fmla="*/ 506 h 570"/>
                <a:gd name="T10" fmla="*/ 10 w 127"/>
                <a:gd name="T11" fmla="*/ 64 h 570"/>
                <a:gd name="T12" fmla="*/ 64 w 127"/>
                <a:gd name="T13" fmla="*/ 10 h 570"/>
                <a:gd name="T14" fmla="*/ 64 w 127"/>
                <a:gd name="T15" fmla="*/ 0 h 570"/>
                <a:gd name="T16" fmla="*/ 0 w 127"/>
                <a:gd name="T17" fmla="*/ 64 h 570"/>
                <a:gd name="T18" fmla="*/ 0 w 127"/>
                <a:gd name="T19" fmla="*/ 506 h 570"/>
                <a:gd name="T20" fmla="*/ 64 w 127"/>
                <a:gd name="T21" fmla="*/ 570 h 570"/>
                <a:gd name="T22" fmla="*/ 127 w 127"/>
                <a:gd name="T23" fmla="*/ 506 h 570"/>
                <a:gd name="T24" fmla="*/ 127 w 127"/>
                <a:gd name="T25" fmla="*/ 64 h 570"/>
                <a:gd name="T26" fmla="*/ 64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4" y="10"/>
                  </a:moveTo>
                  <a:cubicBezTo>
                    <a:pt x="93" y="10"/>
                    <a:pt x="117" y="34"/>
                    <a:pt x="117" y="64"/>
                  </a:cubicBezTo>
                  <a:cubicBezTo>
                    <a:pt x="117" y="506"/>
                    <a:pt x="117" y="506"/>
                    <a:pt x="117" y="506"/>
                  </a:cubicBezTo>
                  <a:cubicBezTo>
                    <a:pt x="117" y="536"/>
                    <a:pt x="93" y="560"/>
                    <a:pt x="64" y="560"/>
                  </a:cubicBezTo>
                  <a:cubicBezTo>
                    <a:pt x="34" y="560"/>
                    <a:pt x="10" y="536"/>
                    <a:pt x="10" y="50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4"/>
                    <a:pt x="34" y="10"/>
                    <a:pt x="64" y="10"/>
                  </a:cubicBezTo>
                  <a:moveTo>
                    <a:pt x="64" y="0"/>
                  </a:moveTo>
                  <a:cubicBezTo>
                    <a:pt x="29" y="0"/>
                    <a:pt x="0" y="28"/>
                    <a:pt x="0" y="64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41"/>
                    <a:pt x="29" y="570"/>
                    <a:pt x="64" y="570"/>
                  </a:cubicBezTo>
                  <a:cubicBezTo>
                    <a:pt x="99" y="570"/>
                    <a:pt x="127" y="541"/>
                    <a:pt x="127" y="506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8"/>
                    <a:pt x="99" y="0"/>
                    <a:pt x="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1043463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10110788" y="4564063"/>
              <a:ext cx="193675" cy="325438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1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8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10920413" y="3462338"/>
              <a:ext cx="403225" cy="1814513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1148715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8"/>
            <p:cNvSpPr>
              <a:spLocks noEditPoints="1"/>
            </p:cNvSpPr>
            <p:nvPr userDrawn="1"/>
          </p:nvSpPr>
          <p:spPr bwMode="auto">
            <a:xfrm>
              <a:off x="8367713" y="4159250"/>
              <a:ext cx="325438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51 w 102"/>
                <a:gd name="T17" fmla="*/ 0 h 254"/>
                <a:gd name="T18" fmla="*/ 0 w 102"/>
                <a:gd name="T19" fmla="*/ 51 h 254"/>
                <a:gd name="T20" fmla="*/ 0 w 102"/>
                <a:gd name="T21" fmla="*/ 203 h 254"/>
                <a:gd name="T22" fmla="*/ 51 w 102"/>
                <a:gd name="T23" fmla="*/ 254 h 254"/>
                <a:gd name="T24" fmla="*/ 102 w 102"/>
                <a:gd name="T25" fmla="*/ 203 h 254"/>
                <a:gd name="T26" fmla="*/ 102 w 102"/>
                <a:gd name="T27" fmla="*/ 51 h 254"/>
                <a:gd name="T28" fmla="*/ 51 w 102"/>
                <a:gd name="T2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9658350" y="4548188"/>
              <a:ext cx="322263" cy="809625"/>
            </a:xfrm>
            <a:custGeom>
              <a:avLst/>
              <a:gdLst>
                <a:gd name="T0" fmla="*/ 51 w 101"/>
                <a:gd name="T1" fmla="*/ 254 h 254"/>
                <a:gd name="T2" fmla="*/ 51 w 101"/>
                <a:gd name="T3" fmla="*/ 254 h 254"/>
                <a:gd name="T4" fmla="*/ 0 w 101"/>
                <a:gd name="T5" fmla="*/ 203 h 254"/>
                <a:gd name="T6" fmla="*/ 0 w 101"/>
                <a:gd name="T7" fmla="*/ 51 h 254"/>
                <a:gd name="T8" fmla="*/ 51 w 101"/>
                <a:gd name="T9" fmla="*/ 0 h 254"/>
                <a:gd name="T10" fmla="*/ 101 w 101"/>
                <a:gd name="T11" fmla="*/ 51 h 254"/>
                <a:gd name="T12" fmla="*/ 101 w 101"/>
                <a:gd name="T13" fmla="*/ 203 h 254"/>
                <a:gd name="T14" fmla="*/ 51 w 101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2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101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8855075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8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21"/>
            <p:cNvSpPr>
              <a:spLocks noEditPoints="1"/>
            </p:cNvSpPr>
            <p:nvPr userDrawn="1"/>
          </p:nvSpPr>
          <p:spPr bwMode="auto">
            <a:xfrm>
              <a:off x="4075113" y="4159250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4560888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9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909320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8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24"/>
            <p:cNvSpPr>
              <a:spLocks noEditPoints="1"/>
            </p:cNvSpPr>
            <p:nvPr userDrawn="1"/>
          </p:nvSpPr>
          <p:spPr bwMode="auto">
            <a:xfrm>
              <a:off x="5940425" y="3981450"/>
              <a:ext cx="323850" cy="808038"/>
            </a:xfrm>
            <a:custGeom>
              <a:avLst/>
              <a:gdLst>
                <a:gd name="T0" fmla="*/ 51 w 102"/>
                <a:gd name="T1" fmla="*/ 10 h 254"/>
                <a:gd name="T2" fmla="*/ 91 w 102"/>
                <a:gd name="T3" fmla="*/ 51 h 254"/>
                <a:gd name="T4" fmla="*/ 91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1" y="28"/>
                    <a:pt x="91" y="51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1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8008938" y="4449763"/>
              <a:ext cx="193675" cy="323850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2 h 102"/>
                <a:gd name="T6" fmla="*/ 0 w 61"/>
                <a:gd name="T7" fmla="*/ 31 h 102"/>
                <a:gd name="T8" fmla="*/ 31 w 61"/>
                <a:gd name="T9" fmla="*/ 0 h 102"/>
                <a:gd name="T10" fmla="*/ 61 w 61"/>
                <a:gd name="T11" fmla="*/ 31 h 102"/>
                <a:gd name="T12" fmla="*/ 61 w 61"/>
                <a:gd name="T13" fmla="*/ 72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9"/>
                    <a:pt x="0" y="7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89"/>
                    <a:pt x="47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5616575" y="4449763"/>
              <a:ext cx="193675" cy="323850"/>
            </a:xfrm>
            <a:custGeom>
              <a:avLst/>
              <a:gdLst>
                <a:gd name="T0" fmla="*/ 30 w 61"/>
                <a:gd name="T1" fmla="*/ 11 h 102"/>
                <a:gd name="T2" fmla="*/ 51 w 61"/>
                <a:gd name="T3" fmla="*/ 31 h 102"/>
                <a:gd name="T4" fmla="*/ 51 w 61"/>
                <a:gd name="T5" fmla="*/ 72 h 102"/>
                <a:gd name="T6" fmla="*/ 30 w 61"/>
                <a:gd name="T7" fmla="*/ 92 h 102"/>
                <a:gd name="T8" fmla="*/ 10 w 61"/>
                <a:gd name="T9" fmla="*/ 72 h 102"/>
                <a:gd name="T10" fmla="*/ 10 w 61"/>
                <a:gd name="T11" fmla="*/ 31 h 102"/>
                <a:gd name="T12" fmla="*/ 30 w 61"/>
                <a:gd name="T13" fmla="*/ 11 h 102"/>
                <a:gd name="T14" fmla="*/ 30 w 61"/>
                <a:gd name="T15" fmla="*/ 0 h 102"/>
                <a:gd name="T16" fmla="*/ 0 w 61"/>
                <a:gd name="T17" fmla="*/ 31 h 102"/>
                <a:gd name="T18" fmla="*/ 0 w 61"/>
                <a:gd name="T19" fmla="*/ 72 h 102"/>
                <a:gd name="T20" fmla="*/ 30 w 61"/>
                <a:gd name="T21" fmla="*/ 102 h 102"/>
                <a:gd name="T22" fmla="*/ 61 w 61"/>
                <a:gd name="T23" fmla="*/ 72 h 102"/>
                <a:gd name="T24" fmla="*/ 61 w 61"/>
                <a:gd name="T25" fmla="*/ 31 h 102"/>
                <a:gd name="T26" fmla="*/ 30 w 61"/>
                <a:gd name="T2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02">
                  <a:moveTo>
                    <a:pt x="30" y="11"/>
                  </a:moveTo>
                  <a:cubicBezTo>
                    <a:pt x="42" y="11"/>
                    <a:pt x="51" y="20"/>
                    <a:pt x="51" y="3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83"/>
                    <a:pt x="42" y="92"/>
                    <a:pt x="30" y="92"/>
                  </a:cubicBezTo>
                  <a:cubicBezTo>
                    <a:pt x="19" y="92"/>
                    <a:pt x="10" y="83"/>
                    <a:pt x="10" y="72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0"/>
                    <a:pt x="19" y="11"/>
                    <a:pt x="30" y="11"/>
                  </a:cubicBezTo>
                  <a:moveTo>
                    <a:pt x="30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9"/>
                    <a:pt x="14" y="102"/>
                    <a:pt x="30" y="102"/>
                  </a:cubicBezTo>
                  <a:cubicBezTo>
                    <a:pt x="47" y="102"/>
                    <a:pt x="61" y="89"/>
                    <a:pt x="61" y="7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14"/>
                    <a:pt x="47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558088" y="4433888"/>
              <a:ext cx="320675" cy="811213"/>
            </a:xfrm>
            <a:custGeom>
              <a:avLst/>
              <a:gdLst>
                <a:gd name="T0" fmla="*/ 50 w 101"/>
                <a:gd name="T1" fmla="*/ 255 h 255"/>
                <a:gd name="T2" fmla="*/ 50 w 101"/>
                <a:gd name="T3" fmla="*/ 255 h 255"/>
                <a:gd name="T4" fmla="*/ 0 w 101"/>
                <a:gd name="T5" fmla="*/ 204 h 255"/>
                <a:gd name="T6" fmla="*/ 0 w 101"/>
                <a:gd name="T7" fmla="*/ 51 h 255"/>
                <a:gd name="T8" fmla="*/ 50 w 101"/>
                <a:gd name="T9" fmla="*/ 0 h 255"/>
                <a:gd name="T10" fmla="*/ 101 w 101"/>
                <a:gd name="T11" fmla="*/ 51 h 255"/>
                <a:gd name="T12" fmla="*/ 101 w 101"/>
                <a:gd name="T13" fmla="*/ 204 h 255"/>
                <a:gd name="T14" fmla="*/ 50 w 101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5">
                  <a:moveTo>
                    <a:pt x="50" y="255"/>
                  </a:moveTo>
                  <a:cubicBezTo>
                    <a:pt x="50" y="255"/>
                    <a:pt x="50" y="255"/>
                    <a:pt x="50" y="255"/>
                  </a:cubicBezTo>
                  <a:cubicBezTo>
                    <a:pt x="22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4"/>
                    <a:pt x="101" y="204"/>
                    <a:pt x="101" y="204"/>
                  </a:cubicBezTo>
                  <a:cubicBezTo>
                    <a:pt x="101" y="232"/>
                    <a:pt x="79" y="255"/>
                    <a:pt x="50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6423025" y="33480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7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7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7"/>
                    <a:pt x="128" y="507"/>
                    <a:pt x="128" y="507"/>
                  </a:cubicBezTo>
                  <a:cubicBezTo>
                    <a:pt x="128" y="542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6992938" y="40608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7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7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7"/>
                    <a:pt x="127" y="507"/>
                    <a:pt x="127" y="507"/>
                  </a:cubicBezTo>
                  <a:cubicBezTo>
                    <a:pt x="127" y="542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5438775" y="4627563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4872038" y="3981450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3 h 570"/>
                <a:gd name="T8" fmla="*/ 64 w 127"/>
                <a:gd name="T9" fmla="*/ 0 h 570"/>
                <a:gd name="T10" fmla="*/ 127 w 127"/>
                <a:gd name="T11" fmla="*/ 63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3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0" y="4095750"/>
              <a:ext cx="152400" cy="809625"/>
            </a:xfrm>
            <a:custGeom>
              <a:avLst/>
              <a:gdLst>
                <a:gd name="T0" fmla="*/ 0 w 48"/>
                <a:gd name="T1" fmla="*/ 0 h 254"/>
                <a:gd name="T2" fmla="*/ 0 w 48"/>
                <a:gd name="T3" fmla="*/ 254 h 254"/>
                <a:gd name="T4" fmla="*/ 48 w 48"/>
                <a:gd name="T5" fmla="*/ 203 h 254"/>
                <a:gd name="T6" fmla="*/ 48 w 48"/>
                <a:gd name="T7" fmla="*/ 50 h 254"/>
                <a:gd name="T8" fmla="*/ 0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0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7" y="252"/>
                    <a:pt x="48" y="230"/>
                    <a:pt x="48" y="203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23"/>
                    <a:pt x="27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12052300" y="4548188"/>
              <a:ext cx="152400" cy="809625"/>
            </a:xfrm>
            <a:custGeom>
              <a:avLst/>
              <a:gdLst>
                <a:gd name="T0" fmla="*/ 48 w 48"/>
                <a:gd name="T1" fmla="*/ 0 h 254"/>
                <a:gd name="T2" fmla="*/ 0 w 48"/>
                <a:gd name="T3" fmla="*/ 51 h 254"/>
                <a:gd name="T4" fmla="*/ 0 w 48"/>
                <a:gd name="T5" fmla="*/ 203 h 254"/>
                <a:gd name="T6" fmla="*/ 48 w 48"/>
                <a:gd name="T7" fmla="*/ 254 h 254"/>
                <a:gd name="T8" fmla="*/ 48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48" y="0"/>
                  </a:moveTo>
                  <a:cubicBezTo>
                    <a:pt x="20" y="2"/>
                    <a:pt x="0" y="24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0" y="253"/>
                    <a:pt x="48" y="254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7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190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rdea Blue">
    <p:bg>
      <p:bgPr>
        <a:solidFill>
          <a:srgbClr val="000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5AEACD09-CC44-73F8-6ED2-850F1EDE1E32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260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10C19B-0612-48C5-BAEB-8DC9E97E7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10C19B-0612-48C5-BAEB-8DC9E97E7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38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39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2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3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95474"/>
          </a:xfrm>
        </p:spPr>
        <p:txBody>
          <a:bodyPr vert="horz"/>
          <a:lstStyle>
            <a:lvl1pPr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30" name="Logotype"/>
          <p:cNvGrpSpPr/>
          <p:nvPr userDrawn="1"/>
        </p:nvGrpSpPr>
        <p:grpSpPr>
          <a:xfrm>
            <a:off x="640801" y="53280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1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4692130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B87C5F-D638-4BFA-8B71-57701A0B4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B87C5F-D638-4BFA-8B71-57701A0B4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0"/>
            <a:ext cx="7200000" cy="795600"/>
          </a:xfrm>
        </p:spPr>
        <p:txBody>
          <a:bodyPr vert="horz"/>
          <a:lstStyle>
            <a:lvl1pPr>
              <a:defRPr sz="29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8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172154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>
            <a:extLst>
              <a:ext uri="{FF2B5EF4-FFF2-40B4-BE49-F238E27FC236}">
                <a16:creationId xmlns:a16="http://schemas.microsoft.com/office/drawing/2014/main" id="{5E5D37B7-0D84-24B3-1D0F-520B0EC00344}"/>
              </a:ext>
            </a:extLst>
          </p:cNvPr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04FB1EB-FF6E-F6B7-8991-2A63FC2A1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AF11C8-7F8F-F7C8-62A8-CCAF6B9D7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B5136C4-3187-35EB-C589-E310B3178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57B1AA-DAD1-3C37-DE15-09A23C883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8A911A6-7D23-992A-499B-E8DFD0C4B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FB7346-42D2-6E66-9653-1C8E1CB79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C2A71EDC-2551-EC09-7272-3FECA9FF063A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60083"/>
            <a:ext cx="7200000" cy="72016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17C67F4D-39A7-4665-5442-B164D1DECA70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01434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3481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Logotype, static">
            <a:extLst>
              <a:ext uri="{FF2B5EF4-FFF2-40B4-BE49-F238E27FC236}">
                <a16:creationId xmlns:a16="http://schemas.microsoft.com/office/drawing/2014/main" id="{4CDFEBFF-56BA-BA38-B9E3-B6FC44861925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9CE3F7C7-EF19-BC00-AC41-3117286E2BD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53" r:id="rId2"/>
    <p:sldLayoutId id="2147483755" r:id="rId3"/>
    <p:sldLayoutId id="2147483730" r:id="rId4"/>
    <p:sldLayoutId id="2147483752" r:id="rId5"/>
    <p:sldLayoutId id="2147483728" r:id="rId6"/>
    <p:sldLayoutId id="2147483748" r:id="rId7"/>
    <p:sldLayoutId id="2147483650" r:id="rId8"/>
    <p:sldLayoutId id="2147483749" r:id="rId9"/>
    <p:sldLayoutId id="2147483750" r:id="rId10"/>
    <p:sldLayoutId id="2147483737" r:id="rId11"/>
    <p:sldLayoutId id="2147483652" r:id="rId12"/>
    <p:sldLayoutId id="2147483738" r:id="rId13"/>
    <p:sldLayoutId id="2147483663" r:id="rId14"/>
    <p:sldLayoutId id="2147483655" r:id="rId15"/>
    <p:sldLayoutId id="2147483751" r:id="rId16"/>
    <p:sldLayoutId id="2147483742" r:id="rId17"/>
    <p:sldLayoutId id="2147483660" r:id="rId18"/>
    <p:sldLayoutId id="2147483724" r:id="rId19"/>
    <p:sldLayoutId id="2147483725" r:id="rId20"/>
    <p:sldLayoutId id="2147483735" r:id="rId21"/>
    <p:sldLayoutId id="2147483743" r:id="rId22"/>
    <p:sldLayoutId id="2147483741" r:id="rId23"/>
    <p:sldLayoutId id="2147483747" r:id="rId24"/>
    <p:sldLayoutId id="2147483733" r:id="rId25"/>
    <p:sldLayoutId id="2147483756" r:id="rId26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8" userDrawn="1">
          <p15:clr>
            <a:srgbClr val="F26B43"/>
          </p15:clr>
        </p15:guide>
        <p15:guide id="4" pos="7284" userDrawn="1">
          <p15:clr>
            <a:srgbClr val="F26B43"/>
          </p15:clr>
        </p15:guide>
        <p15:guide id="5" orient="horz" pos="224" userDrawn="1">
          <p15:clr>
            <a:srgbClr val="F26B43"/>
          </p15:clr>
        </p15:guide>
        <p15:guide id="6" orient="horz" pos="686" userDrawn="1">
          <p15:clr>
            <a:srgbClr val="F26B43"/>
          </p15:clr>
        </p15:guide>
        <p15:guide id="7" orient="horz" pos="836" userDrawn="1">
          <p15:clr>
            <a:srgbClr val="F26B43"/>
          </p15:clr>
        </p15:guide>
        <p15:guide id="8" orient="horz" pos="36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85F86F-9441-419A-9890-FC95F4DD74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085F86F-9441-419A-9890-FC95F4DD7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1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9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Line 11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9" name="Line 14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21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612DBAD8-C389-4EAD-9D02-BEB21DE29F0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3" cy="1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6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</p:sldLayoutIdLst>
  <p:hf hdr="0" ftr="0" dt="0"/>
  <p:txStyles>
    <p:titleStyle>
      <a:lvl1pPr algn="l" defTabSz="1088667" rtl="0" eaLnBrk="1" latinLnBrk="0" hangingPunct="1">
        <a:spcBef>
          <a:spcPct val="0"/>
        </a:spcBef>
        <a:buNone/>
        <a:defRPr sz="1999" b="1" kern="1200">
          <a:solidFill>
            <a:schemeClr val="tx2"/>
          </a:solidFill>
          <a:latin typeface="Nordea Sans Large Black" panose="00000A00000000000000" pitchFamily="50" charset="0"/>
          <a:ea typeface="+mj-ea"/>
          <a:cs typeface="+mj-cs"/>
        </a:defRPr>
      </a:lvl1pPr>
    </p:titleStyle>
    <p:bodyStyle>
      <a:lvl1pPr marL="215465" indent="-215465" algn="l" defTabSz="1088667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1pPr>
      <a:lvl2pPr marL="471470" indent="-214305" algn="l" defTabSz="1088667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2pPr>
      <a:lvl3pPr marL="728635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3pPr>
      <a:lvl4pPr marL="985801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4pPr>
      <a:lvl5pPr marL="1242967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5pPr>
      <a:lvl6pPr marL="2993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8167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2501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6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3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7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6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10335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4668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936DCF3-4A4C-DA72-2157-9626122D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A co możemy teraz</a:t>
            </a:r>
          </a:p>
        </p:txBody>
      </p:sp>
      <p:pic>
        <p:nvPicPr>
          <p:cNvPr id="4" name="Nagranie_soap.mov">
            <a:hlinkClick r:id="" action="ppaction://media"/>
            <a:extLst>
              <a:ext uri="{FF2B5EF4-FFF2-40B4-BE49-F238E27FC236}">
                <a16:creationId xmlns:a16="http://schemas.microsoft.com/office/drawing/2014/main" id="{F329DB39-9266-2611-510A-73EB4BC1367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570" y="1407726"/>
            <a:ext cx="10813572" cy="48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304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83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5E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2_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A0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8</TotalTime>
  <Words>4</Words>
  <Application>Microsoft Office PowerPoint</Application>
  <PresentationFormat>Custom</PresentationFormat>
  <Paragraphs>1</Paragraphs>
  <Slides>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Nordea Sans Large Black</vt:lpstr>
      <vt:lpstr>Nordea Sans Small</vt:lpstr>
      <vt:lpstr>Nordea</vt:lpstr>
      <vt:lpstr>2_Nordea</vt:lpstr>
      <vt:lpstr>think-cell Slide</vt:lpstr>
      <vt:lpstr>A co możemy teraz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mpt Engineering</dc:title>
  <dc:creator>Gajda Jakub</dc:creator>
  <cp:lastModifiedBy>Gajda Jakub</cp:lastModifiedBy>
  <cp:revision>4</cp:revision>
  <dcterms:created xsi:type="dcterms:W3CDTF">2016-03-23T08:04:09Z</dcterms:created>
  <dcterms:modified xsi:type="dcterms:W3CDTF">2024-01-29T08:4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ec17ee5-d002-416f-a486-c5f1fad2d957_Enabled">
    <vt:lpwstr>true</vt:lpwstr>
  </property>
  <property fmtid="{D5CDD505-2E9C-101B-9397-08002B2CF9AE}" pid="3" name="MSIP_Label_5ec17ee5-d002-416f-a486-c5f1fad2d957_SetDate">
    <vt:lpwstr>2023-10-23T07:59:23Z</vt:lpwstr>
  </property>
  <property fmtid="{D5CDD505-2E9C-101B-9397-08002B2CF9AE}" pid="4" name="MSIP_Label_5ec17ee5-d002-416f-a486-c5f1fad2d957_Method">
    <vt:lpwstr>Privileged</vt:lpwstr>
  </property>
  <property fmtid="{D5CDD505-2E9C-101B-9397-08002B2CF9AE}" pid="5" name="MSIP_Label_5ec17ee5-d002-416f-a486-c5f1fad2d957_Name">
    <vt:lpwstr>Open</vt:lpwstr>
  </property>
  <property fmtid="{D5CDD505-2E9C-101B-9397-08002B2CF9AE}" pid="6" name="MSIP_Label_5ec17ee5-d002-416f-a486-c5f1fad2d957_SiteId">
    <vt:lpwstr>8beccd60-0be6-4025-8e24-ca9ae679e1f4</vt:lpwstr>
  </property>
  <property fmtid="{D5CDD505-2E9C-101B-9397-08002B2CF9AE}" pid="7" name="MSIP_Label_5ec17ee5-d002-416f-a486-c5f1fad2d957_ActionId">
    <vt:lpwstr>cc834f05-9580-4e0d-981d-6989eb507cbf</vt:lpwstr>
  </property>
  <property fmtid="{D5CDD505-2E9C-101B-9397-08002B2CF9AE}" pid="8" name="MSIP_Label_5ec17ee5-d002-416f-a486-c5f1fad2d957_ContentBits">
    <vt:lpwstr>0</vt:lpwstr>
  </property>
</Properties>
</file>